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14000" y="2951999"/>
            <a:ext cx="7488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7902000" y="2951999"/>
            <a:ext cx="3744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